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101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42.xml" ContentType="application/vnd.openxmlformats-officedocument.presentationml.tags+xml"/>
  <Override PartName="/ppt/notesSlides/notesSlide101.xml" ContentType="application/vnd.openxmlformats-officedocument.presentationml.notesSlid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05" r:id="rId10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101.xml" Id="rId10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0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01.xml.rels>&#65279;<?xml version="1.0" encoding="utf-8"?><Relationships xmlns="http://schemas.openxmlformats.org/package/2006/relationships"><Relationship Type="http://schemas.openxmlformats.org/officeDocument/2006/relationships/slide" Target="/ppt/slides/slide101.xml" Id="rId2" /><Relationship Type="http://schemas.openxmlformats.org/officeDocument/2006/relationships/notesMaster" Target="/ppt/notesMasters/notesMaster1.xml" Id="rId1" /></Relationship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91587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01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342.xml" Id="rId2" /><Relationship Type="http://schemas.openxmlformats.org/officeDocument/2006/relationships/vmlDrawing" Target="/ppt/drawings/vmlDrawing105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05.bin" Id="rId5" /><Relationship Type="http://schemas.openxmlformats.org/officeDocument/2006/relationships/notesSlide" Target="/ppt/notesSlides/notesSlide101.xml" Id="rId4" /></Relationships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8195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9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wo obstacles</a:t>
            </a:r>
          </a:p>
        </p:txBody>
      </p:sp>
      <p:sp>
        <p:nvSpPr>
          <p:cNvPr id="2" name="Grafik 9">
            <a:extLst>
              <a:ext uri="{FF2B5EF4-FFF2-40B4-BE49-F238E27FC236}">
                <a16:creationId xmlns:a16="http://schemas.microsoft.com/office/drawing/2014/main" id="{B4C18288-7070-4BBB-BD37-A5FDDE5CEFED}"/>
              </a:ext>
            </a:extLst>
          </p:cNvPr>
          <p:cNvSpPr>
            <a:spLocks/>
          </p:cNvSpPr>
          <p:nvPr/>
        </p:nvSpPr>
        <p:spPr>
          <a:xfrm>
            <a:off x="5703085" y="3428951"/>
            <a:ext cx="822343" cy="757335"/>
          </a:xfrm>
          <a:custGeom>
            <a:avLst/>
            <a:gdLst>
              <a:gd name="connsiteX0" fmla="*/ 2748820 w 2748819"/>
              <a:gd name="connsiteY0" fmla="*/ 1227677 h 2455354"/>
              <a:gd name="connsiteX1" fmla="*/ 2077117 w 2748819"/>
              <a:gd name="connsiteY1" fmla="*/ 1227677 h 2455354"/>
              <a:gd name="connsiteX2" fmla="*/ 2077117 w 2748819"/>
              <a:gd name="connsiteY2" fmla="*/ 0 h 2455354"/>
              <a:gd name="connsiteX3" fmla="*/ 671703 w 2748819"/>
              <a:gd name="connsiteY3" fmla="*/ 2455355 h 2455354"/>
              <a:gd name="connsiteX4" fmla="*/ 671703 w 2748819"/>
              <a:gd name="connsiteY4" fmla="*/ 1227677 h 2455354"/>
              <a:gd name="connsiteX5" fmla="*/ 0 w 2748819"/>
              <a:gd name="connsiteY5" fmla="*/ 1227677 h 2455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8819" h="2455354">
                <a:moveTo>
                  <a:pt x="2748820" y="1227677"/>
                </a:moveTo>
                <a:lnTo>
                  <a:pt x="2077117" y="1227677"/>
                </a:lnTo>
                <a:lnTo>
                  <a:pt x="2077117" y="0"/>
                </a:lnTo>
                <a:lnTo>
                  <a:pt x="671703" y="2455355"/>
                </a:lnTo>
                <a:lnTo>
                  <a:pt x="671703" y="1227677"/>
                </a:lnTo>
                <a:lnTo>
                  <a:pt x="0" y="1227677"/>
                </a:lnTo>
              </a:path>
            </a:pathLst>
          </a:custGeom>
          <a:noFill/>
          <a:ln w="38100" cap="flat" cmpd="sng">
            <a:solidFill>
              <a:schemeClr val="accent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>
                    <a:alpha val="50195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3" name="Pfeil: Fünfeck 3">
            <a:extLst>
              <a:ext uri="{FF2B5EF4-FFF2-40B4-BE49-F238E27FC236}">
                <a16:creationId xmlns:a16="http://schemas.microsoft.com/office/drawing/2014/main" id="{FADC1025-FF7B-9455-D545-DD111E1489A2}"/>
              </a:ext>
            </a:extLst>
          </p:cNvPr>
          <p:cNvSpPr>
            <a:spLocks/>
          </p:cNvSpPr>
          <p:nvPr/>
        </p:nvSpPr>
        <p:spPr>
          <a:xfrm>
            <a:off x="407988" y="1557338"/>
            <a:ext cx="5317367" cy="4500562"/>
          </a:xfrm>
          <a:prstGeom prst="homePlate">
            <a:avLst>
              <a:gd name="adj" fmla="val 22015"/>
            </a:avLst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4" name="Pfeil: Fünfeck 4">
            <a:extLst>
              <a:ext uri="{FF2B5EF4-FFF2-40B4-BE49-F238E27FC236}">
                <a16:creationId xmlns:a16="http://schemas.microsoft.com/office/drawing/2014/main" id="{AC64F256-9A7E-58DF-33B7-2E2FDBB84E96}"/>
              </a:ext>
            </a:extLst>
          </p:cNvPr>
          <p:cNvSpPr>
            <a:spLocks/>
          </p:cNvSpPr>
          <p:nvPr/>
        </p:nvSpPr>
        <p:spPr>
          <a:xfrm flipH="1">
            <a:off x="6503158" y="1557338"/>
            <a:ext cx="5317367" cy="4500562"/>
          </a:xfrm>
          <a:prstGeom prst="homePlate">
            <a:avLst>
              <a:gd name="adj" fmla="val 22015"/>
            </a:avLst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56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B3A3A707-2BEF-73F0-9DA4-720194010E6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10607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obstacle</a:t>
            </a:r>
          </a:p>
        </p:txBody>
      </p:sp>
    </p:spTree>
    <p:extLst>
      <p:ext uri="{BB962C8B-B14F-4D97-AF65-F5344CB8AC3E}">
        <p14:creationId xmlns:p14="http://schemas.microsoft.com/office/powerpoint/2010/main" val="4465843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